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4125FC17-DC79-4264-BD28-0B97BF3E316F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6" Type="http://schemas.openxmlformats.org/officeDocument/2006/relationships/image" Target="../media/image30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6923F5-5981-7E8D-9F01-E4CD61C09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8E22C5-F226-2965-AFBE-739B805C4E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8E22C5-F226-2965-AFBE-739B805C4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5EDB633-F696-96AC-C447-617440E25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70BB91-6754-3D0B-ED84-01D23F110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4DA8FCF-2BE3-01BF-8157-6DFABEA39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B2D256E-3F28-19DF-F4D5-78EF19671D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7" name="Chart Placeholder 16">
                <a:extLst>
                  <a:ext uri="{FF2B5EF4-FFF2-40B4-BE49-F238E27FC236}">
                    <a16:creationId xmlns:a16="http://schemas.microsoft.com/office/drawing/2014/main" id="{8401FEBF-682D-4B15-E6EE-AC60688F9E4C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11083925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7" name="Chart Placeholder 16">
                <a:extLst>
                  <a:ext uri="{FF2B5EF4-FFF2-40B4-BE49-F238E27FC236}">
                    <a16:creationId xmlns:a16="http://schemas.microsoft.com/office/drawing/2014/main" id="{8401FEBF-682D-4B15-E6EE-AC60688F9E4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11083925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87717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3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2</cp:revision>
  <dcterms:created xsi:type="dcterms:W3CDTF">2025-07-09T10:57:17Z</dcterms:created>
  <dcterms:modified xsi:type="dcterms:W3CDTF">2025-10-22T09:49:27Z</dcterms:modified>
  <cp:category/>
</cp:coreProperties>
</file>